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44" r:id="rId1"/>
  </p:sldMasterIdLst>
  <p:notesMasterIdLst>
    <p:notesMasterId r:id="rId3"/>
  </p:notesMasterIdLst>
  <p:handoutMasterIdLst>
    <p:handoutMasterId r:id="rId4"/>
  </p:handoutMasterIdLst>
  <p:sldIdLst>
    <p:sldId id="657" r:id="rId2"/>
  </p:sldIdLst>
  <p:sldSz cx="10693400" cy="7561263"/>
  <p:notesSz cx="6805613" cy="9944100"/>
  <p:kinsoku lang="zh-CN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fr-FR"/>
    </a:defPPr>
    <a:lvl1pPr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63">
          <p15:clr>
            <a:srgbClr val="A4A3A4"/>
          </p15:clr>
        </p15:guide>
        <p15:guide id="2" orient="horz" pos="1792">
          <p15:clr>
            <a:srgbClr val="A4A3A4"/>
          </p15:clr>
        </p15:guide>
        <p15:guide id="3" pos="3368">
          <p15:clr>
            <a:srgbClr val="A4A3A4"/>
          </p15:clr>
        </p15:guide>
        <p15:guide id="4" orient="horz" pos="1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6600"/>
    <a:srgbClr val="BB7759"/>
    <a:srgbClr val="003366"/>
    <a:srgbClr val="A8C745"/>
    <a:srgbClr val="9EBE38"/>
    <a:srgbClr val="990000"/>
    <a:srgbClr val="FF990B"/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01" autoAdjust="0"/>
    <p:restoredTop sz="94625" autoAdjust="0"/>
  </p:normalViewPr>
  <p:slideViewPr>
    <p:cSldViewPr snapToGrid="0">
      <p:cViewPr varScale="1">
        <p:scale>
          <a:sx n="100" d="100"/>
          <a:sy n="100" d="100"/>
        </p:scale>
        <p:origin x="1548" y="96"/>
      </p:cViewPr>
      <p:guideLst>
        <p:guide orient="horz" pos="2563"/>
        <p:guide orient="horz" pos="1792"/>
        <p:guide pos="3368"/>
        <p:guide orient="horz" pos="1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2688"/>
    </p:cViewPr>
  </p:sorterViewPr>
  <p:notesViewPr>
    <p:cSldViewPr snapToGrid="0">
      <p:cViewPr varScale="1">
        <p:scale>
          <a:sx n="76" d="100"/>
          <a:sy n="76" d="100"/>
        </p:scale>
        <p:origin x="-2160" y="-108"/>
      </p:cViewPr>
      <p:guideLst>
        <p:guide orient="horz" pos="3132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ChangeArrowheads="1"/>
          </p:cNvSpPr>
          <p:nvPr/>
        </p:nvSpPr>
        <p:spPr bwMode="auto">
          <a:xfrm>
            <a:off x="6180918" y="9554582"/>
            <a:ext cx="549283" cy="26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1485" tIns="39797" rIns="81485" bIns="39797" anchor="ctr">
            <a:spAutoFit/>
          </a:bodyPr>
          <a:lstStyle>
            <a:lvl1pPr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04813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06450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08088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609725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0669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5241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9813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4385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1C239B82-A2F5-4DC9-A5AB-91C2A636AD1D}" type="slidenum">
              <a:rPr lang="fr-FR" altLang="zh-CN" sz="1200" b="0">
                <a:latin typeface="Book Antiqua" panose="02040602050305030304" pitchFamily="18" charset="0"/>
              </a:rPr>
              <a:pPr algn="r">
                <a:defRPr/>
              </a:pPr>
              <a:t>‹#›</a:t>
            </a:fld>
            <a:endParaRPr lang="fr-FR" altLang="zh-CN" sz="1200" b="0" dirty="0"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1766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2648" y="4726077"/>
            <a:ext cx="4980317" cy="419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1485" tIns="39797" rIns="81485" bIns="3979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zh-CN" noProof="0"/>
              <a:t>Cliquez pour modifier le style de texte du masque</a:t>
            </a:r>
          </a:p>
          <a:p>
            <a:pPr lvl="1"/>
            <a:r>
              <a:rPr lang="fr-FR" altLang="zh-CN" noProof="0"/>
              <a:t>Second niveau</a:t>
            </a:r>
          </a:p>
          <a:p>
            <a:pPr lvl="2"/>
            <a:r>
              <a:rPr lang="fr-FR" altLang="zh-CN" noProof="0"/>
              <a:t>Troisième niveau</a:t>
            </a:r>
          </a:p>
          <a:p>
            <a:pPr lvl="3"/>
            <a:r>
              <a:rPr lang="fr-FR" altLang="zh-CN" noProof="0"/>
              <a:t>Quatrième niveau</a:t>
            </a:r>
          </a:p>
          <a:p>
            <a:pPr lvl="4"/>
            <a:r>
              <a:rPr lang="fr-FR" altLang="zh-CN" noProof="0"/>
              <a:t>Cinquième niveau</a:t>
            </a:r>
          </a:p>
        </p:txBody>
      </p:sp>
      <p:sp>
        <p:nvSpPr>
          <p:cNvPr id="3075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27050" y="576263"/>
            <a:ext cx="5753100" cy="4068762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052" name="Rectangle 4"/>
          <p:cNvSpPr>
            <a:spLocks noChangeArrowheads="1"/>
          </p:cNvSpPr>
          <p:nvPr/>
        </p:nvSpPr>
        <p:spPr bwMode="auto">
          <a:xfrm>
            <a:off x="6180918" y="9554582"/>
            <a:ext cx="549283" cy="26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1485" tIns="39797" rIns="81485" bIns="39797" anchor="ctr">
            <a:spAutoFit/>
          </a:bodyPr>
          <a:lstStyle>
            <a:lvl1pPr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04813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06450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08088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609725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0669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5241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9813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4385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E6FB88F8-BE06-4309-B3DC-39FA6B457582}" type="slidenum">
              <a:rPr lang="fr-FR" altLang="zh-CN" sz="1200" b="0" smtClean="0">
                <a:latin typeface="Book Antiqua" panose="02040602050305030304" pitchFamily="18" charset="0"/>
              </a:rPr>
              <a:pPr algn="r">
                <a:defRPr/>
              </a:pPr>
              <a:t>‹#›</a:t>
            </a:fld>
            <a:endParaRPr lang="fr-FR" altLang="zh-CN" sz="1200" b="0" dirty="0"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531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1pPr>
    <a:lvl2pPr marL="33813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2pPr>
    <a:lvl3pPr marL="67468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3pPr>
    <a:lvl4pPr marL="1012825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4pPr>
    <a:lvl5pPr marL="134778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oleObject" Target="../embeddings/oleObject4.bin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 txBox="1">
            <a:spLocks/>
          </p:cNvSpPr>
          <p:nvPr userDrawn="1"/>
        </p:nvSpPr>
        <p:spPr>
          <a:xfrm>
            <a:off x="768589" y="7223062"/>
            <a:ext cx="58509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6" name="Picture 1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93400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57449" y="661139"/>
            <a:ext cx="9423559" cy="678676"/>
          </a:xfrm>
        </p:spPr>
        <p:txBody>
          <a:bodyPr/>
          <a:lstStyle>
            <a:lvl1pPr>
              <a:defRPr sz="441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757450" y="2377204"/>
            <a:ext cx="7494662" cy="951030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205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822082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4546552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5560198" y="1641776"/>
            <a:ext cx="4544695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5560198" y="4239208"/>
            <a:ext cx="4544695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7502648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4546552" cy="2359393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9306" y="4239209"/>
            <a:ext cx="4544695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5556485" y="1641774"/>
            <a:ext cx="4548408" cy="2359394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5556485" y="4239209"/>
            <a:ext cx="4548408" cy="2359393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1507862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6148705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16235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716235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7162350" y="4239208"/>
            <a:ext cx="2942542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71623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6485124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4546552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5556485" y="1641776"/>
            <a:ext cx="4548408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5556485" y="3630106"/>
            <a:ext cx="4548408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5556485" y="4239208"/>
            <a:ext cx="4548408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5556485" y="6227540"/>
            <a:ext cx="4548408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7701991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757449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757449" y="4239208"/>
            <a:ext cx="2942542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757449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958044" y="1641774"/>
            <a:ext cx="2946255" cy="4956828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7156781" y="1641775"/>
            <a:ext cx="2948111" cy="1988331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/>
          </p:nvPr>
        </p:nvSpPr>
        <p:spPr>
          <a:xfrm>
            <a:off x="7157400" y="3630105"/>
            <a:ext cx="294749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/>
          </p:nvPr>
        </p:nvSpPr>
        <p:spPr>
          <a:xfrm>
            <a:off x="7162350" y="4239208"/>
            <a:ext cx="2942542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/>
          </p:nvPr>
        </p:nvSpPr>
        <p:spPr>
          <a:xfrm>
            <a:off x="71623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90126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361459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2361459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5556484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5556484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361459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2361459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5556484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5556484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49194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361459" y="1641776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5556484" y="1641776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361459" y="4239210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5556484" y="4239210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231742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5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75745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757450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7574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395990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395990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/>
          </p:nvPr>
        </p:nvSpPr>
        <p:spPr>
          <a:xfrm>
            <a:off x="3959900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395990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/>
          </p:nvPr>
        </p:nvSpPr>
        <p:spPr>
          <a:xfrm>
            <a:off x="716235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716235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/>
          </p:nvPr>
        </p:nvSpPr>
        <p:spPr>
          <a:xfrm>
            <a:off x="7162350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71623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100849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757448" y="1636524"/>
            <a:ext cx="2947414" cy="2364644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3957464" y="1636524"/>
            <a:ext cx="2947414" cy="2364644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7157479" y="1636524"/>
            <a:ext cx="2947414" cy="236464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757449" y="4239208"/>
            <a:ext cx="2948111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/>
          </p:nvPr>
        </p:nvSpPr>
        <p:spPr>
          <a:xfrm>
            <a:off x="3958044" y="4239208"/>
            <a:ext cx="2946255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/>
          </p:nvPr>
        </p:nvSpPr>
        <p:spPr>
          <a:xfrm>
            <a:off x="7156781" y="4239208"/>
            <a:ext cx="2948111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1549319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93400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757449" y="2764944"/>
            <a:ext cx="9347443" cy="67864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41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757449" y="4251715"/>
            <a:ext cx="9347443" cy="339338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2205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14398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/>
          <p:cNvSpPr txBox="1">
            <a:spLocks/>
          </p:cNvSpPr>
          <p:nvPr/>
        </p:nvSpPr>
        <p:spPr>
          <a:xfrm>
            <a:off x="1611436" y="7135547"/>
            <a:ext cx="1197444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26 June 2020</a:t>
            </a:fld>
            <a:endParaRPr lang="en-GB" sz="992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757450" y="7135547"/>
            <a:ext cx="56425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Page </a:t>
            </a:r>
            <a:fld id="{12A34401-8199-4818-BD09-7935527FCC48}" type="slidenum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‹#›</a:t>
            </a:fld>
            <a:endParaRPr lang="en-GB" sz="992" dirty="0">
              <a:solidFill>
                <a:srgbClr val="7F7F7F"/>
              </a:solidFill>
            </a:endParaRPr>
          </a:p>
        </p:txBody>
      </p:sp>
      <p:grpSp>
        <p:nvGrpSpPr>
          <p:cNvPr id="6" name="Group 7"/>
          <p:cNvGrpSpPr>
            <a:grpSpLocks/>
          </p:cNvGrpSpPr>
          <p:nvPr/>
        </p:nvGrpSpPr>
        <p:grpSpPr bwMode="auto">
          <a:xfrm>
            <a:off x="9031839" y="7165697"/>
            <a:ext cx="1076766" cy="278297"/>
            <a:chOff x="1005" y="1644"/>
            <a:chExt cx="3749" cy="1030"/>
          </a:xfrm>
        </p:grpSpPr>
        <p:sp>
          <p:nvSpPr>
            <p:cNvPr id="7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848 w 501"/>
                <a:gd name="T1" fmla="*/ 740 h 429"/>
                <a:gd name="T2" fmla="*/ 800 w 501"/>
                <a:gd name="T3" fmla="*/ 678 h 429"/>
                <a:gd name="T4" fmla="*/ 782 w 501"/>
                <a:gd name="T5" fmla="*/ 655 h 429"/>
                <a:gd name="T6" fmla="*/ 680 w 501"/>
                <a:gd name="T7" fmla="*/ 607 h 429"/>
                <a:gd name="T8" fmla="*/ 548 w 501"/>
                <a:gd name="T9" fmla="*/ 740 h 429"/>
                <a:gd name="T10" fmla="*/ 680 w 501"/>
                <a:gd name="T11" fmla="*/ 870 h 429"/>
                <a:gd name="T12" fmla="*/ 782 w 501"/>
                <a:gd name="T13" fmla="*/ 823 h 429"/>
                <a:gd name="T14" fmla="*/ 800 w 501"/>
                <a:gd name="T15" fmla="*/ 799 h 429"/>
                <a:gd name="T16" fmla="*/ 848 w 501"/>
                <a:gd name="T17" fmla="*/ 740 h 429"/>
                <a:gd name="T18" fmla="*/ 383 w 501"/>
                <a:gd name="T19" fmla="*/ 737 h 429"/>
                <a:gd name="T20" fmla="*/ 680 w 501"/>
                <a:gd name="T21" fmla="*/ 444 h 429"/>
                <a:gd name="T22" fmla="*/ 907 w 501"/>
                <a:gd name="T23" fmla="*/ 548 h 429"/>
                <a:gd name="T24" fmla="*/ 909 w 501"/>
                <a:gd name="T25" fmla="*/ 553 h 429"/>
                <a:gd name="T26" fmla="*/ 914 w 501"/>
                <a:gd name="T27" fmla="*/ 551 h 429"/>
                <a:gd name="T28" fmla="*/ 590 w 501"/>
                <a:gd name="T29" fmla="*/ 0 h 429"/>
                <a:gd name="T30" fmla="*/ 0 w 501"/>
                <a:gd name="T31" fmla="*/ 1014 h 429"/>
                <a:gd name="T32" fmla="*/ 576 w 501"/>
                <a:gd name="T33" fmla="*/ 1014 h 429"/>
                <a:gd name="T34" fmla="*/ 579 w 501"/>
                <a:gd name="T35" fmla="*/ 1012 h 429"/>
                <a:gd name="T36" fmla="*/ 519 w 501"/>
                <a:gd name="T37" fmla="*/ 986 h 429"/>
                <a:gd name="T38" fmla="*/ 383 w 501"/>
                <a:gd name="T39" fmla="*/ 737 h 429"/>
                <a:gd name="T40" fmla="*/ 1171 w 501"/>
                <a:gd name="T41" fmla="*/ 1009 h 429"/>
                <a:gd name="T42" fmla="*/ 1110 w 501"/>
                <a:gd name="T43" fmla="*/ 993 h 429"/>
                <a:gd name="T44" fmla="*/ 956 w 501"/>
                <a:gd name="T45" fmla="*/ 867 h 429"/>
                <a:gd name="T46" fmla="*/ 897 w 501"/>
                <a:gd name="T47" fmla="*/ 941 h 429"/>
                <a:gd name="T48" fmla="*/ 786 w 501"/>
                <a:gd name="T49" fmla="*/ 1012 h 429"/>
                <a:gd name="T50" fmla="*/ 786 w 501"/>
                <a:gd name="T51" fmla="*/ 1014 h 429"/>
                <a:gd name="T52" fmla="*/ 1183 w 501"/>
                <a:gd name="T53" fmla="*/ 1014 h 429"/>
                <a:gd name="T54" fmla="*/ 1183 w 501"/>
                <a:gd name="T55" fmla="*/ 1012 h 429"/>
                <a:gd name="T56" fmla="*/ 1171 w 501"/>
                <a:gd name="T57" fmla="*/ 1009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9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404 w 937"/>
                <a:gd name="T1" fmla="*/ 321 h 326"/>
                <a:gd name="T2" fmla="*/ 184 w 937"/>
                <a:gd name="T3" fmla="*/ 210 h 326"/>
                <a:gd name="T4" fmla="*/ 295 w 937"/>
                <a:gd name="T5" fmla="*/ 125 h 326"/>
                <a:gd name="T6" fmla="*/ 439 w 937"/>
                <a:gd name="T7" fmla="*/ 236 h 326"/>
                <a:gd name="T8" fmla="*/ 598 w 937"/>
                <a:gd name="T9" fmla="*/ 236 h 326"/>
                <a:gd name="T10" fmla="*/ 302 w 937"/>
                <a:gd name="T11" fmla="*/ 0 h 326"/>
                <a:gd name="T12" fmla="*/ 28 w 937"/>
                <a:gd name="T13" fmla="*/ 222 h 326"/>
                <a:gd name="T14" fmla="*/ 246 w 937"/>
                <a:gd name="T15" fmla="*/ 432 h 326"/>
                <a:gd name="T16" fmla="*/ 465 w 937"/>
                <a:gd name="T17" fmla="*/ 553 h 326"/>
                <a:gd name="T18" fmla="*/ 321 w 937"/>
                <a:gd name="T19" fmla="*/ 645 h 326"/>
                <a:gd name="T20" fmla="*/ 158 w 937"/>
                <a:gd name="T21" fmla="*/ 508 h 326"/>
                <a:gd name="T22" fmla="*/ 2 w 937"/>
                <a:gd name="T23" fmla="*/ 508 h 326"/>
                <a:gd name="T24" fmla="*/ 317 w 937"/>
                <a:gd name="T25" fmla="*/ 770 h 326"/>
                <a:gd name="T26" fmla="*/ 621 w 937"/>
                <a:gd name="T27" fmla="*/ 534 h 326"/>
                <a:gd name="T28" fmla="*/ 404 w 937"/>
                <a:gd name="T29" fmla="*/ 321 h 326"/>
                <a:gd name="T30" fmla="*/ 1278 w 937"/>
                <a:gd name="T31" fmla="*/ 286 h 326"/>
                <a:gd name="T32" fmla="*/ 1278 w 937"/>
                <a:gd name="T33" fmla="*/ 286 h 326"/>
                <a:gd name="T34" fmla="*/ 1118 w 937"/>
                <a:gd name="T35" fmla="*/ 205 h 326"/>
                <a:gd name="T36" fmla="*/ 884 w 937"/>
                <a:gd name="T37" fmla="*/ 482 h 326"/>
                <a:gd name="T38" fmla="*/ 1122 w 937"/>
                <a:gd name="T39" fmla="*/ 768 h 326"/>
                <a:gd name="T40" fmla="*/ 1283 w 937"/>
                <a:gd name="T41" fmla="*/ 685 h 326"/>
                <a:gd name="T42" fmla="*/ 1285 w 937"/>
                <a:gd name="T43" fmla="*/ 685 h 326"/>
                <a:gd name="T44" fmla="*/ 1285 w 937"/>
                <a:gd name="T45" fmla="*/ 753 h 326"/>
                <a:gd name="T46" fmla="*/ 1425 w 937"/>
                <a:gd name="T47" fmla="*/ 753 h 326"/>
                <a:gd name="T48" fmla="*/ 1425 w 937"/>
                <a:gd name="T49" fmla="*/ 19 h 326"/>
                <a:gd name="T50" fmla="*/ 1278 w 937"/>
                <a:gd name="T51" fmla="*/ 19 h 326"/>
                <a:gd name="T52" fmla="*/ 1278 w 937"/>
                <a:gd name="T53" fmla="*/ 286 h 326"/>
                <a:gd name="T54" fmla="*/ 1158 w 937"/>
                <a:gd name="T55" fmla="*/ 657 h 326"/>
                <a:gd name="T56" fmla="*/ 1030 w 937"/>
                <a:gd name="T57" fmla="*/ 487 h 326"/>
                <a:gd name="T58" fmla="*/ 1158 w 937"/>
                <a:gd name="T59" fmla="*/ 317 h 326"/>
                <a:gd name="T60" fmla="*/ 1283 w 937"/>
                <a:gd name="T61" fmla="*/ 484 h 326"/>
                <a:gd name="T62" fmla="*/ 1158 w 937"/>
                <a:gd name="T63" fmla="*/ 657 h 326"/>
                <a:gd name="T64" fmla="*/ 1751 w 937"/>
                <a:gd name="T65" fmla="*/ 205 h 326"/>
                <a:gd name="T66" fmla="*/ 1479 w 937"/>
                <a:gd name="T67" fmla="*/ 487 h 326"/>
                <a:gd name="T68" fmla="*/ 1751 w 937"/>
                <a:gd name="T69" fmla="*/ 768 h 326"/>
                <a:gd name="T70" fmla="*/ 1999 w 937"/>
                <a:gd name="T71" fmla="*/ 588 h 326"/>
                <a:gd name="T72" fmla="*/ 1871 w 937"/>
                <a:gd name="T73" fmla="*/ 588 h 326"/>
                <a:gd name="T74" fmla="*/ 1756 w 937"/>
                <a:gd name="T75" fmla="*/ 657 h 326"/>
                <a:gd name="T76" fmla="*/ 1623 w 937"/>
                <a:gd name="T77" fmla="*/ 522 h 326"/>
                <a:gd name="T78" fmla="*/ 2008 w 937"/>
                <a:gd name="T79" fmla="*/ 522 h 326"/>
                <a:gd name="T80" fmla="*/ 1751 w 937"/>
                <a:gd name="T81" fmla="*/ 205 h 326"/>
                <a:gd name="T82" fmla="*/ 1623 w 937"/>
                <a:gd name="T83" fmla="*/ 430 h 326"/>
                <a:gd name="T84" fmla="*/ 1746 w 937"/>
                <a:gd name="T85" fmla="*/ 317 h 326"/>
                <a:gd name="T86" fmla="*/ 1862 w 937"/>
                <a:gd name="T87" fmla="*/ 430 h 326"/>
                <a:gd name="T88" fmla="*/ 1623 w 937"/>
                <a:gd name="T89" fmla="*/ 430 h 326"/>
                <a:gd name="T90" fmla="*/ 2068 w 937"/>
                <a:gd name="T91" fmla="*/ 753 h 326"/>
                <a:gd name="T92" fmla="*/ 2214 w 937"/>
                <a:gd name="T93" fmla="*/ 753 h 326"/>
                <a:gd name="T94" fmla="*/ 2214 w 937"/>
                <a:gd name="T95" fmla="*/ 19 h 326"/>
                <a:gd name="T96" fmla="*/ 2068 w 937"/>
                <a:gd name="T97" fmla="*/ 19 h 326"/>
                <a:gd name="T98" fmla="*/ 2068 w 937"/>
                <a:gd name="T99" fmla="*/ 753 h 326"/>
                <a:gd name="T100" fmla="*/ 676 w 937"/>
                <a:gd name="T101" fmla="*/ 753 h 326"/>
                <a:gd name="T102" fmla="*/ 822 w 937"/>
                <a:gd name="T103" fmla="*/ 753 h 326"/>
                <a:gd name="T104" fmla="*/ 822 w 937"/>
                <a:gd name="T105" fmla="*/ 220 h 326"/>
                <a:gd name="T106" fmla="*/ 676 w 937"/>
                <a:gd name="T107" fmla="*/ 220 h 326"/>
                <a:gd name="T108" fmla="*/ 676 w 937"/>
                <a:gd name="T109" fmla="*/ 753 h 326"/>
                <a:gd name="T110" fmla="*/ 676 w 937"/>
                <a:gd name="T111" fmla="*/ 139 h 326"/>
                <a:gd name="T112" fmla="*/ 822 w 937"/>
                <a:gd name="T113" fmla="*/ 139 h 326"/>
                <a:gd name="T114" fmla="*/ 822 w 937"/>
                <a:gd name="T115" fmla="*/ 19 h 326"/>
                <a:gd name="T116" fmla="*/ 676 w 937"/>
                <a:gd name="T117" fmla="*/ 19 h 326"/>
                <a:gd name="T118" fmla="*/ 676 w 937"/>
                <a:gd name="T119" fmla="*/ 139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</p:grpSp>
      <p:cxnSp>
        <p:nvCxnSpPr>
          <p:cNvPr id="10" name="Straight Connector 9"/>
          <p:cNvCxnSpPr/>
          <p:nvPr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7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93771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93400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kt 9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9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100"/>
          <p:cNvSpPr txBox="1">
            <a:spLocks noChangeArrowheads="1"/>
          </p:cNvSpPr>
          <p:nvPr userDrawn="1"/>
        </p:nvSpPr>
        <p:spPr bwMode="auto">
          <a:xfrm>
            <a:off x="4232805" y="2322639"/>
            <a:ext cx="6065163" cy="2368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 fontAlgn="base">
              <a:spcBef>
                <a:spcPts val="882"/>
              </a:spcBef>
              <a:spcAft>
                <a:spcPct val="0"/>
              </a:spcAft>
            </a:pPr>
            <a:r>
              <a:rPr lang="en-GB" altLang="fr-FR" sz="992">
                <a:solidFill>
                  <a:srgbClr val="FFFFFF"/>
                </a:solidFill>
              </a:rPr>
              <a:t>                                                             The Sidel Group is formed by the union of two strong brands, 		 Sidel and Gebo Cermex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fontAlgn="base">
              <a:spcBef>
                <a:spcPts val="882"/>
              </a:spcBef>
              <a:spcAft>
                <a:spcPct val="0"/>
              </a:spcAft>
            </a:pPr>
            <a:r>
              <a:rPr lang="en-GB" altLang="fr-FR" sz="992">
                <a:solidFill>
                  <a:srgbClr val="FFFFFF"/>
                </a:solidFill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altLang="fr-FR" sz="992" b="1">
                <a:solidFill>
                  <a:srgbClr val="FFFFFF"/>
                </a:solidFill>
              </a:rPr>
              <a:t>performance</a:t>
            </a:r>
            <a:r>
              <a:rPr lang="en-GB" altLang="fr-FR" sz="992">
                <a:solidFill>
                  <a:srgbClr val="FFFFFF"/>
                </a:solidFill>
              </a:rPr>
              <a:t> of their lines, products	          and businesses. </a:t>
            </a:r>
          </a:p>
          <a:p>
            <a:pPr algn="just" fontAlgn="base">
              <a:spcBef>
                <a:spcPts val="882"/>
              </a:spcBef>
              <a:spcAft>
                <a:spcPct val="0"/>
              </a:spcAft>
            </a:pPr>
            <a:r>
              <a:rPr lang="en-GB" altLang="fr-FR" sz="992">
                <a:solidFill>
                  <a:srgbClr val="FFFFFF"/>
                </a:solidFill>
              </a:rPr>
              <a:t>	       Delivering this level of performance requires that we continuously </a:t>
            </a:r>
            <a:r>
              <a:rPr lang="en-GB" altLang="fr-FR" sz="992" b="1">
                <a:solidFill>
                  <a:srgbClr val="FFFFFF"/>
                </a:solidFill>
              </a:rPr>
              <a:t>understand</a:t>
            </a:r>
            <a:r>
              <a:rPr lang="en-GB" altLang="fr-FR" sz="992">
                <a:solidFill>
                  <a:srgbClr val="FFFFFF"/>
                </a:solidFill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altLang="fr-FR" sz="992">
                <a:solidFill>
                  <a:srgbClr val="FFFFFF"/>
                </a:solidFill>
              </a:rPr>
            </a:br>
            <a:r>
              <a:rPr lang="en-GB" altLang="fr-FR" sz="992">
                <a:solidFill>
                  <a:srgbClr val="FFFFFF"/>
                </a:solidFill>
              </a:rPr>
              <a:t>                           value chains. We complement this by applying our strong technical knowledge and</a:t>
            </a:r>
            <a:br>
              <a:rPr lang="en-GB" altLang="fr-FR" sz="992">
                <a:solidFill>
                  <a:srgbClr val="FFFFFF"/>
                </a:solidFill>
              </a:rPr>
            </a:br>
            <a:r>
              <a:rPr lang="en-GB" altLang="fr-FR" sz="992">
                <a:solidFill>
                  <a:srgbClr val="FFFFFF"/>
                </a:solidFill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5" name="Textfeld 110"/>
          <p:cNvSpPr txBox="1">
            <a:spLocks noChangeArrowheads="1"/>
          </p:cNvSpPr>
          <p:nvPr userDrawn="1"/>
        </p:nvSpPr>
        <p:spPr bwMode="auto">
          <a:xfrm>
            <a:off x="4232805" y="5014588"/>
            <a:ext cx="6065163" cy="1697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fontAlgn="base">
              <a:spcBef>
                <a:spcPts val="882"/>
              </a:spcBef>
              <a:spcAft>
                <a:spcPct val="0"/>
              </a:spcAft>
            </a:pPr>
            <a:r>
              <a:rPr lang="en-GB" altLang="fr-FR" sz="1103" b="1">
                <a:solidFill>
                  <a:srgbClr val="FFFFFF"/>
                </a:solidFill>
              </a:rPr>
              <a:t>                </a:t>
            </a:r>
            <a:r>
              <a:rPr lang="en-GB" altLang="fr-FR" sz="992">
                <a:solidFill>
                  <a:srgbClr val="FFFFFF"/>
                </a:solidFill>
              </a:rPr>
              <a:t>We call it </a:t>
            </a:r>
            <a:r>
              <a:rPr lang="en-GB" altLang="fr-FR" sz="1103" b="1">
                <a:solidFill>
                  <a:srgbClr val="FFFFFF"/>
                </a:solidFill>
              </a:rPr>
              <a:t>Performance through Understanding.</a:t>
            </a:r>
          </a:p>
        </p:txBody>
      </p:sp>
      <p:sp>
        <p:nvSpPr>
          <p:cNvPr id="6" name="Slide Number Placeholder 4"/>
          <p:cNvSpPr txBox="1">
            <a:spLocks/>
          </p:cNvSpPr>
          <p:nvPr userDrawn="1"/>
        </p:nvSpPr>
        <p:spPr>
          <a:xfrm>
            <a:off x="768589" y="7223062"/>
            <a:ext cx="58509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b="1" dirty="0">
                <a:solidFill>
                  <a:srgbClr val="E64B00"/>
                </a:solidFill>
              </a:rPr>
              <a:t>sidel.com</a:t>
            </a:r>
          </a:p>
        </p:txBody>
      </p:sp>
    </p:spTree>
    <p:extLst>
      <p:ext uri="{BB962C8B-B14F-4D97-AF65-F5344CB8AC3E}">
        <p14:creationId xmlns:p14="http://schemas.microsoft.com/office/powerpoint/2010/main" val="384407575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94D81A5E-5D12-4F7F-A0C8-31B48DB313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94D81A5E-5D12-4F7F-A0C8-31B48DB3134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35078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7800" y="369133"/>
            <a:ext cx="9346200" cy="50905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757802" y="1130691"/>
            <a:ext cx="9353012" cy="276999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45873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757450" y="1638275"/>
            <a:ext cx="9347443" cy="4960327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5420633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</p:nvPr>
        </p:nvSpPr>
        <p:spPr>
          <a:xfrm>
            <a:off x="757450" y="1638275"/>
            <a:ext cx="9347444" cy="49603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85417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6148705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162350" y="1641776"/>
            <a:ext cx="2942542" cy="4956827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116899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1641776"/>
            <a:ext cx="2942542" cy="4956827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952475" y="1641774"/>
            <a:ext cx="6152418" cy="4956828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432369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1641776"/>
            <a:ext cx="9347443" cy="4956827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590657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369133"/>
            <a:ext cx="9347443" cy="622947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004551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6148705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162350" y="1641776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7162350" y="4239208"/>
            <a:ext cx="2942542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370036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Folie" r:id="rId27" imgW="360" imgH="360" progId="TCLayout.ActiveDocument.1">
                  <p:embed/>
                </p:oleObj>
              </mc:Choice>
              <mc:Fallback>
                <p:oleObj name="think-cell Folie" r:id="rId27" imgW="360" imgH="360" progId="TCLayout.ActiveDocument.1">
                  <p:embed/>
                  <p:pic>
                    <p:nvPicPr>
                      <p:cNvPr id="3074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/>
          <p:cNvSpPr>
            <a:spLocks noGrp="1"/>
          </p:cNvSpPr>
          <p:nvPr>
            <p:ph type="title"/>
          </p:nvPr>
        </p:nvSpPr>
        <p:spPr bwMode="auto">
          <a:xfrm>
            <a:off x="757449" y="369312"/>
            <a:ext cx="9349299" cy="509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757450" y="1638274"/>
            <a:ext cx="9347443" cy="496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611436" y="7135547"/>
            <a:ext cx="1197444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26 June 2020</a:t>
            </a:fld>
            <a:endParaRPr lang="en-GB" sz="992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757450" y="7135547"/>
            <a:ext cx="56425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Page </a:t>
            </a:r>
            <a:fld id="{F2E4720E-BB03-455A-8ED1-6CF75A62BB47}" type="slidenum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‹#›</a:t>
            </a:fld>
            <a:endParaRPr lang="en-GB" sz="992" dirty="0">
              <a:solidFill>
                <a:srgbClr val="7F7F7F"/>
              </a:solidFill>
            </a:endParaRPr>
          </a:p>
        </p:txBody>
      </p:sp>
      <p:grpSp>
        <p:nvGrpSpPr>
          <p:cNvPr id="3079" name="Group 7"/>
          <p:cNvGrpSpPr>
            <a:grpSpLocks/>
          </p:cNvGrpSpPr>
          <p:nvPr/>
        </p:nvGrpSpPr>
        <p:grpSpPr bwMode="auto">
          <a:xfrm>
            <a:off x="9031839" y="7165697"/>
            <a:ext cx="1076766" cy="278297"/>
            <a:chOff x="1005" y="1644"/>
            <a:chExt cx="3749" cy="1030"/>
          </a:xfrm>
        </p:grpSpPr>
        <p:sp>
          <p:nvSpPr>
            <p:cNvPr id="308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08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848 w 501"/>
                <a:gd name="T1" fmla="*/ 740 h 429"/>
                <a:gd name="T2" fmla="*/ 800 w 501"/>
                <a:gd name="T3" fmla="*/ 678 h 429"/>
                <a:gd name="T4" fmla="*/ 782 w 501"/>
                <a:gd name="T5" fmla="*/ 655 h 429"/>
                <a:gd name="T6" fmla="*/ 680 w 501"/>
                <a:gd name="T7" fmla="*/ 607 h 429"/>
                <a:gd name="T8" fmla="*/ 548 w 501"/>
                <a:gd name="T9" fmla="*/ 740 h 429"/>
                <a:gd name="T10" fmla="*/ 680 w 501"/>
                <a:gd name="T11" fmla="*/ 870 h 429"/>
                <a:gd name="T12" fmla="*/ 782 w 501"/>
                <a:gd name="T13" fmla="*/ 823 h 429"/>
                <a:gd name="T14" fmla="*/ 800 w 501"/>
                <a:gd name="T15" fmla="*/ 799 h 429"/>
                <a:gd name="T16" fmla="*/ 848 w 501"/>
                <a:gd name="T17" fmla="*/ 740 h 429"/>
                <a:gd name="T18" fmla="*/ 383 w 501"/>
                <a:gd name="T19" fmla="*/ 737 h 429"/>
                <a:gd name="T20" fmla="*/ 680 w 501"/>
                <a:gd name="T21" fmla="*/ 444 h 429"/>
                <a:gd name="T22" fmla="*/ 907 w 501"/>
                <a:gd name="T23" fmla="*/ 548 h 429"/>
                <a:gd name="T24" fmla="*/ 909 w 501"/>
                <a:gd name="T25" fmla="*/ 553 h 429"/>
                <a:gd name="T26" fmla="*/ 914 w 501"/>
                <a:gd name="T27" fmla="*/ 551 h 429"/>
                <a:gd name="T28" fmla="*/ 590 w 501"/>
                <a:gd name="T29" fmla="*/ 0 h 429"/>
                <a:gd name="T30" fmla="*/ 0 w 501"/>
                <a:gd name="T31" fmla="*/ 1014 h 429"/>
                <a:gd name="T32" fmla="*/ 576 w 501"/>
                <a:gd name="T33" fmla="*/ 1014 h 429"/>
                <a:gd name="T34" fmla="*/ 579 w 501"/>
                <a:gd name="T35" fmla="*/ 1012 h 429"/>
                <a:gd name="T36" fmla="*/ 519 w 501"/>
                <a:gd name="T37" fmla="*/ 986 h 429"/>
                <a:gd name="T38" fmla="*/ 383 w 501"/>
                <a:gd name="T39" fmla="*/ 737 h 429"/>
                <a:gd name="T40" fmla="*/ 1171 w 501"/>
                <a:gd name="T41" fmla="*/ 1009 h 429"/>
                <a:gd name="T42" fmla="*/ 1110 w 501"/>
                <a:gd name="T43" fmla="*/ 993 h 429"/>
                <a:gd name="T44" fmla="*/ 956 w 501"/>
                <a:gd name="T45" fmla="*/ 867 h 429"/>
                <a:gd name="T46" fmla="*/ 897 w 501"/>
                <a:gd name="T47" fmla="*/ 941 h 429"/>
                <a:gd name="T48" fmla="*/ 786 w 501"/>
                <a:gd name="T49" fmla="*/ 1012 h 429"/>
                <a:gd name="T50" fmla="*/ 786 w 501"/>
                <a:gd name="T51" fmla="*/ 1014 h 429"/>
                <a:gd name="T52" fmla="*/ 1183 w 501"/>
                <a:gd name="T53" fmla="*/ 1014 h 429"/>
                <a:gd name="T54" fmla="*/ 1183 w 501"/>
                <a:gd name="T55" fmla="*/ 1012 h 429"/>
                <a:gd name="T56" fmla="*/ 1171 w 501"/>
                <a:gd name="T57" fmla="*/ 1009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08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404 w 937"/>
                <a:gd name="T1" fmla="*/ 321 h 326"/>
                <a:gd name="T2" fmla="*/ 184 w 937"/>
                <a:gd name="T3" fmla="*/ 210 h 326"/>
                <a:gd name="T4" fmla="*/ 295 w 937"/>
                <a:gd name="T5" fmla="*/ 125 h 326"/>
                <a:gd name="T6" fmla="*/ 439 w 937"/>
                <a:gd name="T7" fmla="*/ 236 h 326"/>
                <a:gd name="T8" fmla="*/ 598 w 937"/>
                <a:gd name="T9" fmla="*/ 236 h 326"/>
                <a:gd name="T10" fmla="*/ 302 w 937"/>
                <a:gd name="T11" fmla="*/ 0 h 326"/>
                <a:gd name="T12" fmla="*/ 28 w 937"/>
                <a:gd name="T13" fmla="*/ 222 h 326"/>
                <a:gd name="T14" fmla="*/ 246 w 937"/>
                <a:gd name="T15" fmla="*/ 432 h 326"/>
                <a:gd name="T16" fmla="*/ 465 w 937"/>
                <a:gd name="T17" fmla="*/ 553 h 326"/>
                <a:gd name="T18" fmla="*/ 321 w 937"/>
                <a:gd name="T19" fmla="*/ 645 h 326"/>
                <a:gd name="T20" fmla="*/ 158 w 937"/>
                <a:gd name="T21" fmla="*/ 508 h 326"/>
                <a:gd name="T22" fmla="*/ 2 w 937"/>
                <a:gd name="T23" fmla="*/ 508 h 326"/>
                <a:gd name="T24" fmla="*/ 317 w 937"/>
                <a:gd name="T25" fmla="*/ 770 h 326"/>
                <a:gd name="T26" fmla="*/ 621 w 937"/>
                <a:gd name="T27" fmla="*/ 534 h 326"/>
                <a:gd name="T28" fmla="*/ 404 w 937"/>
                <a:gd name="T29" fmla="*/ 321 h 326"/>
                <a:gd name="T30" fmla="*/ 1278 w 937"/>
                <a:gd name="T31" fmla="*/ 286 h 326"/>
                <a:gd name="T32" fmla="*/ 1278 w 937"/>
                <a:gd name="T33" fmla="*/ 286 h 326"/>
                <a:gd name="T34" fmla="*/ 1118 w 937"/>
                <a:gd name="T35" fmla="*/ 205 h 326"/>
                <a:gd name="T36" fmla="*/ 884 w 937"/>
                <a:gd name="T37" fmla="*/ 482 h 326"/>
                <a:gd name="T38" fmla="*/ 1122 w 937"/>
                <a:gd name="T39" fmla="*/ 768 h 326"/>
                <a:gd name="T40" fmla="*/ 1283 w 937"/>
                <a:gd name="T41" fmla="*/ 685 h 326"/>
                <a:gd name="T42" fmla="*/ 1285 w 937"/>
                <a:gd name="T43" fmla="*/ 685 h 326"/>
                <a:gd name="T44" fmla="*/ 1285 w 937"/>
                <a:gd name="T45" fmla="*/ 753 h 326"/>
                <a:gd name="T46" fmla="*/ 1425 w 937"/>
                <a:gd name="T47" fmla="*/ 753 h 326"/>
                <a:gd name="T48" fmla="*/ 1425 w 937"/>
                <a:gd name="T49" fmla="*/ 19 h 326"/>
                <a:gd name="T50" fmla="*/ 1278 w 937"/>
                <a:gd name="T51" fmla="*/ 19 h 326"/>
                <a:gd name="T52" fmla="*/ 1278 w 937"/>
                <a:gd name="T53" fmla="*/ 286 h 326"/>
                <a:gd name="T54" fmla="*/ 1158 w 937"/>
                <a:gd name="T55" fmla="*/ 657 h 326"/>
                <a:gd name="T56" fmla="*/ 1030 w 937"/>
                <a:gd name="T57" fmla="*/ 487 h 326"/>
                <a:gd name="T58" fmla="*/ 1158 w 937"/>
                <a:gd name="T59" fmla="*/ 317 h 326"/>
                <a:gd name="T60" fmla="*/ 1283 w 937"/>
                <a:gd name="T61" fmla="*/ 484 h 326"/>
                <a:gd name="T62" fmla="*/ 1158 w 937"/>
                <a:gd name="T63" fmla="*/ 657 h 326"/>
                <a:gd name="T64" fmla="*/ 1751 w 937"/>
                <a:gd name="T65" fmla="*/ 205 h 326"/>
                <a:gd name="T66" fmla="*/ 1479 w 937"/>
                <a:gd name="T67" fmla="*/ 487 h 326"/>
                <a:gd name="T68" fmla="*/ 1751 w 937"/>
                <a:gd name="T69" fmla="*/ 768 h 326"/>
                <a:gd name="T70" fmla="*/ 1999 w 937"/>
                <a:gd name="T71" fmla="*/ 588 h 326"/>
                <a:gd name="T72" fmla="*/ 1871 w 937"/>
                <a:gd name="T73" fmla="*/ 588 h 326"/>
                <a:gd name="T74" fmla="*/ 1756 w 937"/>
                <a:gd name="T75" fmla="*/ 657 h 326"/>
                <a:gd name="T76" fmla="*/ 1623 w 937"/>
                <a:gd name="T77" fmla="*/ 522 h 326"/>
                <a:gd name="T78" fmla="*/ 2008 w 937"/>
                <a:gd name="T79" fmla="*/ 522 h 326"/>
                <a:gd name="T80" fmla="*/ 1751 w 937"/>
                <a:gd name="T81" fmla="*/ 205 h 326"/>
                <a:gd name="T82" fmla="*/ 1623 w 937"/>
                <a:gd name="T83" fmla="*/ 430 h 326"/>
                <a:gd name="T84" fmla="*/ 1746 w 937"/>
                <a:gd name="T85" fmla="*/ 317 h 326"/>
                <a:gd name="T86" fmla="*/ 1862 w 937"/>
                <a:gd name="T87" fmla="*/ 430 h 326"/>
                <a:gd name="T88" fmla="*/ 1623 w 937"/>
                <a:gd name="T89" fmla="*/ 430 h 326"/>
                <a:gd name="T90" fmla="*/ 2068 w 937"/>
                <a:gd name="T91" fmla="*/ 753 h 326"/>
                <a:gd name="T92" fmla="*/ 2214 w 937"/>
                <a:gd name="T93" fmla="*/ 753 h 326"/>
                <a:gd name="T94" fmla="*/ 2214 w 937"/>
                <a:gd name="T95" fmla="*/ 19 h 326"/>
                <a:gd name="T96" fmla="*/ 2068 w 937"/>
                <a:gd name="T97" fmla="*/ 19 h 326"/>
                <a:gd name="T98" fmla="*/ 2068 w 937"/>
                <a:gd name="T99" fmla="*/ 753 h 326"/>
                <a:gd name="T100" fmla="*/ 676 w 937"/>
                <a:gd name="T101" fmla="*/ 753 h 326"/>
                <a:gd name="T102" fmla="*/ 822 w 937"/>
                <a:gd name="T103" fmla="*/ 753 h 326"/>
                <a:gd name="T104" fmla="*/ 822 w 937"/>
                <a:gd name="T105" fmla="*/ 220 h 326"/>
                <a:gd name="T106" fmla="*/ 676 w 937"/>
                <a:gd name="T107" fmla="*/ 220 h 326"/>
                <a:gd name="T108" fmla="*/ 676 w 937"/>
                <a:gd name="T109" fmla="*/ 753 h 326"/>
                <a:gd name="T110" fmla="*/ 676 w 937"/>
                <a:gd name="T111" fmla="*/ 139 h 326"/>
                <a:gd name="T112" fmla="*/ 822 w 937"/>
                <a:gd name="T113" fmla="*/ 139 h 326"/>
                <a:gd name="T114" fmla="*/ 822 w 937"/>
                <a:gd name="T115" fmla="*/ 19 h 326"/>
                <a:gd name="T116" fmla="*/ 676 w 937"/>
                <a:gd name="T117" fmla="*/ 19 h 326"/>
                <a:gd name="T118" fmla="*/ 676 w 937"/>
                <a:gd name="T119" fmla="*/ 139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DAA6737B-371F-4C73-B10C-4FA2EB52A827}"/>
              </a:ext>
            </a:extLst>
          </p:cNvPr>
          <p:cNvSpPr txBox="1"/>
          <p:nvPr userDrawn="1"/>
        </p:nvSpPr>
        <p:spPr>
          <a:xfrm>
            <a:off x="5015379" y="7327840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5"/>
    </p:custDataLst>
    <p:extLst>
      <p:ext uri="{BB962C8B-B14F-4D97-AF65-F5344CB8AC3E}">
        <p14:creationId xmlns:p14="http://schemas.microsoft.com/office/powerpoint/2010/main" val="4986236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55" r:id="rId11"/>
    <p:sldLayoutId id="2147483856" r:id="rId12"/>
    <p:sldLayoutId id="2147483857" r:id="rId13"/>
    <p:sldLayoutId id="2147483858" r:id="rId14"/>
    <p:sldLayoutId id="2147483859" r:id="rId15"/>
    <p:sldLayoutId id="2147483860" r:id="rId16"/>
    <p:sldLayoutId id="2147483861" r:id="rId17"/>
    <p:sldLayoutId id="2147483862" r:id="rId18"/>
    <p:sldLayoutId id="2147483863" r:id="rId19"/>
    <p:sldLayoutId id="2147483864" r:id="rId20"/>
    <p:sldLayoutId id="2147483865" r:id="rId21"/>
    <p:sldLayoutId id="2147483866" r:id="rId22"/>
  </p:sldLayoutIdLst>
  <p:hf sldNum="0" hdr="0" dt="0"/>
  <p:txStyles>
    <p:titleStyle>
      <a:lvl1pPr algn="l" rtl="0" fontAlgn="base">
        <a:spcBef>
          <a:spcPct val="0"/>
        </a:spcBef>
        <a:spcAft>
          <a:spcPct val="0"/>
        </a:spcAft>
        <a:defRPr sz="3308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5pPr>
      <a:lvl6pPr marL="504063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6pPr>
      <a:lvl7pPr marL="1008126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7pPr>
      <a:lvl8pPr marL="1512189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8pPr>
      <a:lvl9pPr marL="2016252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96025" indent="-19602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393800" indent="-19777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3pPr>
      <a:lvl4pPr marL="589824" indent="-19602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4pPr>
      <a:lvl5pPr marL="787598" indent="-19777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5pPr>
      <a:lvl6pPr marL="2772347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6pPr>
      <a:lvl7pPr marL="3276410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7pPr>
      <a:lvl8pPr marL="3780473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8pPr>
      <a:lvl9pPr marL="4284536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063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126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189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252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315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378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8441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2504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1.xml"/><Relationship Id="rId4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>
            <a:extLst>
              <a:ext uri="{FF2B5EF4-FFF2-40B4-BE49-F238E27FC236}">
                <a16:creationId xmlns:a16="http://schemas.microsoft.com/office/drawing/2014/main" id="{1BF97C85-1960-44E2-B1C9-F2FA8F021E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3474" y="471579"/>
            <a:ext cx="8450605" cy="509050"/>
          </a:xfrm>
        </p:spPr>
        <p:txBody>
          <a:bodyPr/>
          <a:lstStyle/>
          <a:p>
            <a:r>
              <a:rPr lang="fr-FR" altLang="fr-FR" dirty="0" err="1"/>
              <a:t>Less</a:t>
            </a:r>
            <a:r>
              <a:rPr lang="fr-FR" altLang="fr-FR" dirty="0"/>
              <a:t> </a:t>
            </a:r>
            <a:r>
              <a:rPr lang="fr-FR" altLang="fr-FR" dirty="0" err="1"/>
              <a:t>downtime</a:t>
            </a:r>
            <a:r>
              <a:rPr lang="fr-FR" altLang="fr-FR" dirty="0"/>
              <a:t> and </a:t>
            </a:r>
            <a:r>
              <a:rPr lang="fr-FR" altLang="fr-FR" dirty="0" err="1"/>
              <a:t>improved</a:t>
            </a:r>
            <a:r>
              <a:rPr lang="fr-FR" altLang="fr-FR" dirty="0"/>
              <a:t> </a:t>
            </a:r>
            <a:r>
              <a:rPr lang="fr-FR" altLang="fr-FR" dirty="0" err="1"/>
              <a:t>productivity</a:t>
            </a:r>
            <a:endParaRPr lang="en-US" altLang="fr-FR" dirty="0">
              <a:solidFill>
                <a:srgbClr val="E64B00"/>
              </a:solidFill>
            </a:endParaRPr>
          </a:p>
        </p:txBody>
      </p:sp>
      <p:sp>
        <p:nvSpPr>
          <p:cNvPr id="17411" name="Content Placeholder 3">
            <a:extLst>
              <a:ext uri="{FF2B5EF4-FFF2-40B4-BE49-F238E27FC236}">
                <a16:creationId xmlns:a16="http://schemas.microsoft.com/office/drawing/2014/main" id="{85331306-631E-45CF-BFE5-DCDC8C969B3D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1380995" y="1712770"/>
            <a:ext cx="7833296" cy="316061"/>
          </a:xfrm>
        </p:spPr>
        <p:txBody>
          <a:bodyPr/>
          <a:lstStyle/>
          <a:p>
            <a:r>
              <a:rPr lang="fr-FR" altLang="fr-FR" dirty="0" err="1">
                <a:solidFill>
                  <a:srgbClr val="000000"/>
                </a:solidFill>
              </a:rPr>
              <a:t>Mould</a:t>
            </a:r>
            <a:r>
              <a:rPr lang="fr-FR" altLang="fr-FR" dirty="0">
                <a:solidFill>
                  <a:srgbClr val="000000"/>
                </a:solidFill>
              </a:rPr>
              <a:t> O/C lever </a:t>
            </a:r>
            <a:r>
              <a:rPr lang="fr-FR" altLang="fr-FR" dirty="0" err="1">
                <a:solidFill>
                  <a:srgbClr val="000000"/>
                </a:solidFill>
              </a:rPr>
              <a:t>with</a:t>
            </a:r>
            <a:r>
              <a:rPr lang="fr-FR" altLang="fr-FR" dirty="0">
                <a:solidFill>
                  <a:srgbClr val="000000"/>
                </a:solidFill>
              </a:rPr>
              <a:t> </a:t>
            </a:r>
            <a:r>
              <a:rPr lang="fr-FR" altLang="fr-FR" dirty="0" err="1">
                <a:solidFill>
                  <a:srgbClr val="000000"/>
                </a:solidFill>
              </a:rPr>
              <a:t>hydraulic</a:t>
            </a:r>
            <a:r>
              <a:rPr lang="fr-FR" altLang="fr-FR" dirty="0">
                <a:solidFill>
                  <a:srgbClr val="000000"/>
                </a:solidFill>
              </a:rPr>
              <a:t> </a:t>
            </a:r>
            <a:r>
              <a:rPr lang="fr-FR" altLang="fr-FR" dirty="0"/>
              <a:t>clamp</a:t>
            </a:r>
            <a:endParaRPr lang="fr-FR" altLang="fr-FR" dirty="0">
              <a:solidFill>
                <a:srgbClr val="000000"/>
              </a:solidFill>
            </a:endParaRPr>
          </a:p>
        </p:txBody>
      </p:sp>
      <p:sp>
        <p:nvSpPr>
          <p:cNvPr id="6" name="Rechteck 4">
            <a:extLst>
              <a:ext uri="{FF2B5EF4-FFF2-40B4-BE49-F238E27FC236}">
                <a16:creationId xmlns:a16="http://schemas.microsoft.com/office/drawing/2014/main" id="{26F0C6D1-6126-40F0-B3F1-44A4828F6EDC}"/>
              </a:ext>
            </a:extLst>
          </p:cNvPr>
          <p:cNvSpPr>
            <a:spLocks/>
          </p:cNvSpPr>
          <p:nvPr/>
        </p:nvSpPr>
        <p:spPr>
          <a:xfrm>
            <a:off x="1383474" y="2538333"/>
            <a:ext cx="3933281" cy="374616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841" tIns="70561" rIns="105841" bIns="70561"/>
          <a:lstStyle/>
          <a:p>
            <a:pPr marL="172111" indent="-172111" defTabSz="1008126" eaLnBrk="1" fontAlgn="auto" hangingPunct="1">
              <a:spcBef>
                <a:spcPts val="283"/>
              </a:spcBef>
              <a:spcAft>
                <a:spcPts val="0"/>
              </a:spcAft>
              <a:buClr>
                <a:srgbClr val="E64B00"/>
              </a:buClr>
              <a:buFont typeface="Wingdings" pitchFamily="2" charset="2"/>
              <a:buChar char="§"/>
            </a:pP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Quick and easy </a:t>
            </a:r>
            <a:r>
              <a:rPr lang="de-CH" altLang="fr-FR" sz="1323" b="0" kern="0" dirty="0" err="1">
                <a:solidFill>
                  <a:srgbClr val="000000"/>
                </a:solidFill>
                <a:latin typeface="Arial"/>
              </a:rPr>
              <a:t>installation</a:t>
            </a:r>
            <a:endParaRPr lang="de-CH" altLang="fr-FR" sz="1323" b="0" kern="0" dirty="0">
              <a:solidFill>
                <a:srgbClr val="000000"/>
              </a:solidFill>
              <a:latin typeface="Arial"/>
            </a:endParaRPr>
          </a:p>
          <a:p>
            <a:pPr marL="172111" indent="-172111" defTabSz="1008126" eaLnBrk="1" fontAlgn="auto" hangingPunct="1">
              <a:spcBef>
                <a:spcPts val="283"/>
              </a:spcBef>
              <a:spcAft>
                <a:spcPts val="0"/>
              </a:spcAft>
              <a:buClr>
                <a:srgbClr val="E64B00"/>
              </a:buClr>
              <a:buFont typeface="Wingdings" pitchFamily="2" charset="2"/>
              <a:buChar char="§"/>
            </a:pP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Adjustment </a:t>
            </a:r>
            <a:r>
              <a:rPr lang="de-CH" altLang="fr-FR" sz="1323" b="0" kern="0" dirty="0" err="1">
                <a:solidFill>
                  <a:srgbClr val="000000"/>
                </a:solidFill>
                <a:latin typeface="Arial"/>
              </a:rPr>
              <a:t>with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 a </a:t>
            </a:r>
            <a:r>
              <a:rPr lang="de-CH" altLang="fr-FR" sz="1323" b="0" kern="0" dirty="0" err="1">
                <a:solidFill>
                  <a:srgbClr val="000000"/>
                </a:solidFill>
                <a:latin typeface="Arial"/>
              </a:rPr>
              <a:t>single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 err="1">
                <a:solidFill>
                  <a:srgbClr val="000000"/>
                </a:solidFill>
                <a:latin typeface="Arial"/>
              </a:rPr>
              <a:t>screw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, </a:t>
            </a:r>
            <a:r>
              <a:rPr lang="de-CH" altLang="fr-FR" sz="1323" b="0" kern="0" dirty="0" err="1">
                <a:solidFill>
                  <a:srgbClr val="000000"/>
                </a:solidFill>
                <a:latin typeface="Arial"/>
              </a:rPr>
              <a:t>thus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 err="1">
                <a:solidFill>
                  <a:srgbClr val="000000"/>
                </a:solidFill>
                <a:latin typeface="Arial"/>
              </a:rPr>
              <a:t>reduction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 err="1">
                <a:solidFill>
                  <a:srgbClr val="000000"/>
                </a:solidFill>
                <a:latin typeface="Arial"/>
              </a:rPr>
              <a:t>of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 err="1">
                <a:solidFill>
                  <a:srgbClr val="000000"/>
                </a:solidFill>
                <a:latin typeface="Arial"/>
              </a:rPr>
              <a:t>machine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 err="1">
                <a:solidFill>
                  <a:srgbClr val="000000"/>
                </a:solidFill>
                <a:latin typeface="Arial"/>
              </a:rPr>
              <a:t>downtime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 </a:t>
            </a:r>
          </a:p>
          <a:p>
            <a:pPr marL="172111" indent="-172111" defTabSz="1008126" eaLnBrk="1" fontAlgn="auto" hangingPunct="1">
              <a:spcBef>
                <a:spcPts val="283"/>
              </a:spcBef>
              <a:spcAft>
                <a:spcPts val="0"/>
              </a:spcAft>
              <a:buClr>
                <a:srgbClr val="E64B00"/>
              </a:buClr>
              <a:buFont typeface="Wingdings" pitchFamily="2" charset="2"/>
              <a:buChar char="§"/>
            </a:pPr>
            <a:r>
              <a:rPr lang="de-CH" altLang="fr-FR" sz="1323" b="0" kern="0" dirty="0" err="1">
                <a:solidFill>
                  <a:srgbClr val="000000"/>
                </a:solidFill>
                <a:latin typeface="Arial"/>
              </a:rPr>
              <a:t>Improves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 err="1">
                <a:solidFill>
                  <a:srgbClr val="000000"/>
                </a:solidFill>
                <a:latin typeface="Arial"/>
              </a:rPr>
              <a:t>the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 err="1">
                <a:solidFill>
                  <a:srgbClr val="000000"/>
                </a:solidFill>
                <a:latin typeface="Arial"/>
              </a:rPr>
              <a:t>lifetime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 err="1">
                <a:solidFill>
                  <a:srgbClr val="000000"/>
                </a:solidFill>
                <a:latin typeface="Arial"/>
              </a:rPr>
              <a:t>of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 err="1">
                <a:solidFill>
                  <a:srgbClr val="000000"/>
                </a:solidFill>
                <a:latin typeface="Arial"/>
              </a:rPr>
              <a:t>the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 err="1">
                <a:solidFill>
                  <a:srgbClr val="000000"/>
                </a:solidFill>
                <a:latin typeface="Arial"/>
              </a:rPr>
              <a:t>mold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 open/</a:t>
            </a:r>
            <a:r>
              <a:rPr lang="de-CH" altLang="fr-FR" sz="1323" b="0" kern="0" dirty="0" err="1">
                <a:solidFill>
                  <a:srgbClr val="000000"/>
                </a:solidFill>
                <a:latin typeface="Arial"/>
              </a:rPr>
              <a:t>close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 cam.</a:t>
            </a:r>
          </a:p>
          <a:p>
            <a:pPr marL="172111" indent="-172111" defTabSz="1008126" eaLnBrk="1" fontAlgn="auto" hangingPunct="1">
              <a:spcBef>
                <a:spcPts val="283"/>
              </a:spcBef>
              <a:spcAft>
                <a:spcPts val="0"/>
              </a:spcAft>
              <a:buClr>
                <a:srgbClr val="E64B00"/>
              </a:buClr>
              <a:buFont typeface="Wingdings" pitchFamily="2" charset="2"/>
              <a:buChar char="§"/>
            </a:pP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Over 1,000 possible </a:t>
            </a:r>
            <a:r>
              <a:rPr lang="de-CH" altLang="fr-FR" sz="1323" b="0" kern="0">
                <a:solidFill>
                  <a:srgbClr val="000000"/>
                </a:solidFill>
                <a:latin typeface="Arial"/>
              </a:rPr>
              <a:t>readjustments</a:t>
            </a:r>
            <a:endParaRPr lang="de-CH" altLang="fr-FR" sz="1323" b="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Rechteck 12">
            <a:extLst>
              <a:ext uri="{FF2B5EF4-FFF2-40B4-BE49-F238E27FC236}">
                <a16:creationId xmlns:a16="http://schemas.microsoft.com/office/drawing/2014/main" id="{B8466011-C770-47A6-86EE-D880D7A7AF4C}"/>
              </a:ext>
            </a:extLst>
          </p:cNvPr>
          <p:cNvSpPr>
            <a:spLocks/>
          </p:cNvSpPr>
          <p:nvPr/>
        </p:nvSpPr>
        <p:spPr>
          <a:xfrm>
            <a:off x="5512388" y="2538333"/>
            <a:ext cx="4029829" cy="374616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841" tIns="70561" rIns="105841" bIns="70561"/>
          <a:lstStyle/>
          <a:p>
            <a:pPr marL="172111" indent="-172111" defTabSz="1008126" eaLnBrk="1" fontAlgn="auto" hangingPunct="1">
              <a:spcBef>
                <a:spcPts val="283"/>
              </a:spcBef>
              <a:spcAft>
                <a:spcPts val="0"/>
              </a:spcAft>
              <a:buClr>
                <a:srgbClr val="E64B00"/>
              </a:buClr>
              <a:buFont typeface="Wingdings" pitchFamily="2" charset="2"/>
              <a:buChar char="§"/>
            </a:pP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An ETP-EXPRESS single-</a:t>
            </a:r>
            <a:r>
              <a:rPr lang="de-CH" altLang="fr-FR" sz="1323" b="0" kern="0" dirty="0" err="1">
                <a:solidFill>
                  <a:srgbClr val="000000"/>
                </a:solidFill>
                <a:latin typeface="Arial"/>
              </a:rPr>
              <a:t>screw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 err="1">
                <a:solidFill>
                  <a:srgbClr val="000000"/>
                </a:solidFill>
                <a:latin typeface="Arial"/>
              </a:rPr>
              <a:t>hydraulic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 err="1">
                <a:solidFill>
                  <a:srgbClr val="000000"/>
                </a:solidFill>
                <a:latin typeface="Arial"/>
              </a:rPr>
              <a:t>tightening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 err="1">
                <a:solidFill>
                  <a:srgbClr val="000000"/>
                </a:solidFill>
                <a:latin typeface="Arial"/>
              </a:rPr>
              <a:t>element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 err="1">
                <a:solidFill>
                  <a:srgbClr val="000000"/>
                </a:solidFill>
                <a:latin typeface="Arial"/>
              </a:rPr>
              <a:t>is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 err="1">
                <a:solidFill>
                  <a:srgbClr val="000000"/>
                </a:solidFill>
                <a:latin typeface="Arial"/>
              </a:rPr>
              <a:t>integrated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 err="1">
                <a:solidFill>
                  <a:srgbClr val="000000"/>
                </a:solidFill>
                <a:latin typeface="Arial"/>
              </a:rPr>
              <a:t>into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 err="1">
                <a:solidFill>
                  <a:srgbClr val="000000"/>
                </a:solidFill>
                <a:latin typeface="Arial"/>
              </a:rPr>
              <a:t>the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 err="1">
                <a:solidFill>
                  <a:srgbClr val="000000"/>
                </a:solidFill>
                <a:latin typeface="Arial"/>
              </a:rPr>
              <a:t>mold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 open/</a:t>
            </a:r>
            <a:r>
              <a:rPr lang="de-CH" altLang="fr-FR" sz="1323" b="0" kern="0" dirty="0" err="1">
                <a:solidFill>
                  <a:srgbClr val="000000"/>
                </a:solidFill>
                <a:latin typeface="Arial"/>
              </a:rPr>
              <a:t>close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 err="1">
                <a:solidFill>
                  <a:srgbClr val="000000"/>
                </a:solidFill>
                <a:latin typeface="Arial"/>
              </a:rPr>
              <a:t>lever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.</a:t>
            </a:r>
          </a:p>
          <a:p>
            <a:pPr marL="172111" indent="-172111" defTabSz="1008126" eaLnBrk="1" fontAlgn="auto" hangingPunct="1">
              <a:spcBef>
                <a:spcPts val="283"/>
              </a:spcBef>
              <a:spcAft>
                <a:spcPts val="0"/>
              </a:spcAft>
              <a:buClr>
                <a:srgbClr val="E64B00"/>
              </a:buClr>
              <a:buFont typeface="Wingdings" pitchFamily="2" charset="2"/>
              <a:buChar char="§"/>
            </a:pPr>
            <a:r>
              <a:rPr lang="de-CH" altLang="fr-FR" sz="1323" b="0" kern="0" dirty="0" err="1">
                <a:solidFill>
                  <a:srgbClr val="000000"/>
                </a:solidFill>
                <a:latin typeface="Arial"/>
              </a:rPr>
              <a:t>It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 err="1">
                <a:solidFill>
                  <a:srgbClr val="000000"/>
                </a:solidFill>
                <a:latin typeface="Arial"/>
              </a:rPr>
              <a:t>replaces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 err="1">
                <a:solidFill>
                  <a:srgbClr val="000000"/>
                </a:solidFill>
                <a:latin typeface="Arial"/>
              </a:rPr>
              <a:t>the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 original RLK </a:t>
            </a:r>
            <a:r>
              <a:rPr lang="de-CH" altLang="fr-FR" sz="1323" b="0" kern="0" dirty="0" err="1">
                <a:solidFill>
                  <a:srgbClr val="000000"/>
                </a:solidFill>
                <a:latin typeface="Arial"/>
              </a:rPr>
              <a:t>cone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 err="1">
                <a:solidFill>
                  <a:srgbClr val="000000"/>
                </a:solidFill>
                <a:latin typeface="Arial"/>
              </a:rPr>
              <a:t>clamping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 err="1">
                <a:solidFill>
                  <a:srgbClr val="000000"/>
                </a:solidFill>
                <a:latin typeface="Arial"/>
              </a:rPr>
              <a:t>system</a:t>
            </a:r>
            <a:endParaRPr lang="en-US" altLang="zh-CN" sz="1323" b="0" kern="0" dirty="0">
              <a:solidFill>
                <a:srgbClr val="000000"/>
              </a:solidFill>
              <a:latin typeface="Arial"/>
            </a:endParaRPr>
          </a:p>
          <a:p>
            <a:pPr marL="178888" lvl="1" indent="-178888" defTabSz="895996" eaLnBrk="1" fontAlgn="auto" hangingPunct="1">
              <a:spcBef>
                <a:spcPts val="294"/>
              </a:spcBef>
              <a:spcAft>
                <a:spcPts val="0"/>
              </a:spcAft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915097" algn="l"/>
                <a:tab pos="3087764" algn="l"/>
              </a:tabLst>
              <a:defRPr/>
            </a:pPr>
            <a:endParaRPr lang="en-US" altLang="zh-CN" sz="1247" b="0" dirty="0">
              <a:solidFill>
                <a:srgbClr val="000000"/>
              </a:solidFill>
              <a:latin typeface="Arial"/>
              <a:ea typeface="宋体" panose="02010600030101010101" pitchFamily="2" charset="-122"/>
            </a:endParaRPr>
          </a:p>
        </p:txBody>
      </p:sp>
      <p:sp>
        <p:nvSpPr>
          <p:cNvPr id="17416" name="Text Placeholder 2">
            <a:extLst>
              <a:ext uri="{FF2B5EF4-FFF2-40B4-BE49-F238E27FC236}">
                <a16:creationId xmlns:a16="http://schemas.microsoft.com/office/drawing/2014/main" id="{B1AF4CBF-8C17-49EB-BB4A-2810FE698516}"/>
              </a:ext>
            </a:extLst>
          </p:cNvPr>
          <p:cNvSpPr txBox="1">
            <a:spLocks/>
          </p:cNvSpPr>
          <p:nvPr/>
        </p:nvSpPr>
        <p:spPr bwMode="auto">
          <a:xfrm>
            <a:off x="1376113" y="6375296"/>
            <a:ext cx="7819294" cy="4614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95996" eaLnBrk="1" fontAlgn="auto" hangingPunct="1">
              <a:spcBef>
                <a:spcPct val="20000"/>
              </a:spcBef>
              <a:spcAft>
                <a:spcPts val="0"/>
              </a:spcAft>
              <a:buClrTx/>
            </a:pPr>
            <a:r>
              <a:rPr lang="en-GB" altLang="fr-FR" sz="882" b="0" dirty="0">
                <a:solidFill>
                  <a:srgbClr val="000000"/>
                </a:solidFill>
              </a:rPr>
              <a:t>Value: Efficiency, Maintenance</a:t>
            </a:r>
          </a:p>
          <a:p>
            <a:pPr defTabSz="895996" eaLnBrk="1" fontAlgn="auto" hangingPunct="1">
              <a:spcBef>
                <a:spcPct val="20000"/>
              </a:spcBef>
              <a:spcAft>
                <a:spcPts val="0"/>
              </a:spcAft>
              <a:buClrTx/>
            </a:pPr>
            <a:r>
              <a:rPr lang="en-GB" altLang="fr-FR" sz="882" b="0" dirty="0">
                <a:solidFill>
                  <a:srgbClr val="000000"/>
                </a:solidFill>
              </a:rPr>
              <a:t>Equipment: blowers Matrix </a:t>
            </a:r>
          </a:p>
          <a:p>
            <a:pPr defTabSz="895996" eaLnBrk="1" fontAlgn="auto" hangingPunct="1">
              <a:spcBef>
                <a:spcPct val="20000"/>
              </a:spcBef>
              <a:spcAft>
                <a:spcPts val="0"/>
              </a:spcAft>
              <a:buClrTx/>
            </a:pPr>
            <a:r>
              <a:rPr lang="en-GB" altLang="fr-FR" sz="882" b="0" dirty="0">
                <a:solidFill>
                  <a:srgbClr val="000000"/>
                </a:solidFill>
              </a:rPr>
              <a:t>Catalogue code: 2023</a:t>
            </a:r>
          </a:p>
        </p:txBody>
      </p:sp>
      <p:pic>
        <p:nvPicPr>
          <p:cNvPr id="10" name="Image 1">
            <a:extLst>
              <a:ext uri="{FF2B5EF4-FFF2-40B4-BE49-F238E27FC236}">
                <a16:creationId xmlns:a16="http://schemas.microsoft.com/office/drawing/2014/main" id="{4FB22AC5-9197-4FBC-8762-AA1CDDB093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94341" y="3841651"/>
            <a:ext cx="1026672" cy="801683"/>
          </a:xfrm>
          <a:prstGeom prst="rect">
            <a:avLst/>
          </a:prstGeom>
        </p:spPr>
      </p:pic>
      <p:pic>
        <p:nvPicPr>
          <p:cNvPr id="11" name="Picture 25">
            <a:extLst>
              <a:ext uri="{FF2B5EF4-FFF2-40B4-BE49-F238E27FC236}">
                <a16:creationId xmlns:a16="http://schemas.microsoft.com/office/drawing/2014/main" id="{65A402BA-A958-41D0-B24A-8CAA77298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788" t="3653" b="5936"/>
          <a:stretch>
            <a:fillRect/>
          </a:stretch>
        </p:blipFill>
        <p:spPr bwMode="auto">
          <a:xfrm>
            <a:off x="6404032" y="4737228"/>
            <a:ext cx="1573987" cy="12536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Text Box 28">
            <a:extLst>
              <a:ext uri="{FF2B5EF4-FFF2-40B4-BE49-F238E27FC236}">
                <a16:creationId xmlns:a16="http://schemas.microsoft.com/office/drawing/2014/main" id="{308467ED-6672-4A0D-B093-5E5E39BAA4B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78018" y="4408848"/>
            <a:ext cx="1353005" cy="2321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1008126" eaLnBrk="1" fontAlgn="auto" hangingPunct="1">
              <a:spcBef>
                <a:spcPct val="50000"/>
              </a:spcBef>
              <a:spcAft>
                <a:spcPts val="0"/>
              </a:spcAft>
            </a:pPr>
            <a:r>
              <a:rPr lang="fr-FR" altLang="fr-FR" sz="754" b="0" dirty="0">
                <a:solidFill>
                  <a:srgbClr val="FF6600"/>
                </a:solidFill>
                <a:latin typeface="Arial" panose="020B0604020202020204" pitchFamily="34" charset="0"/>
              </a:rPr>
              <a:t>FAST SETTING SYSTEM WITH ONLY ONE SCREW</a:t>
            </a:r>
          </a:p>
        </p:txBody>
      </p:sp>
      <p:sp>
        <p:nvSpPr>
          <p:cNvPr id="13" name="Line 30">
            <a:extLst>
              <a:ext uri="{FF2B5EF4-FFF2-40B4-BE49-F238E27FC236}">
                <a16:creationId xmlns:a16="http://schemas.microsoft.com/office/drawing/2014/main" id="{E86A07B2-57E2-4EC7-A68A-95F3CBB61977}"/>
              </a:ext>
            </a:extLst>
          </p:cNvPr>
          <p:cNvSpPr>
            <a:spLocks noChangeShapeType="1"/>
          </p:cNvSpPr>
          <p:nvPr/>
        </p:nvSpPr>
        <p:spPr bwMode="auto">
          <a:xfrm>
            <a:off x="7278298" y="4080470"/>
            <a:ext cx="44900" cy="656757"/>
          </a:xfrm>
          <a:prstGeom prst="line">
            <a:avLst/>
          </a:prstGeom>
          <a:noFill/>
          <a:ln w="12700">
            <a:solidFill>
              <a:srgbClr val="FF66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1008126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 sz="1037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hteck 3">
            <a:extLst>
              <a:ext uri="{FF2B5EF4-FFF2-40B4-BE49-F238E27FC236}">
                <a16:creationId xmlns:a16="http://schemas.microsoft.com/office/drawing/2014/main" id="{D2AAE2F9-785E-48F5-BB67-8A62B671418E}"/>
              </a:ext>
            </a:extLst>
          </p:cNvPr>
          <p:cNvSpPr/>
          <p:nvPr/>
        </p:nvSpPr>
        <p:spPr>
          <a:xfrm>
            <a:off x="1383474" y="2046709"/>
            <a:ext cx="3933281" cy="491623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841" tIns="70561" rIns="105841" bIns="70561" anchor="ctr"/>
          <a:lstStyle/>
          <a:p>
            <a:pPr defTabSz="1008126" eaLnBrk="1" fontAlgn="auto" hangingPunct="1">
              <a:spcBef>
                <a:spcPts val="331"/>
              </a:spcBef>
              <a:spcAft>
                <a:spcPts val="0"/>
              </a:spcAft>
              <a:buClr>
                <a:srgbClr val="FF6600"/>
              </a:buClr>
              <a:defRPr/>
            </a:pPr>
            <a:r>
              <a:rPr lang="en-GB" sz="1544" dirty="0">
                <a:solidFill>
                  <a:srgbClr val="FFFFFF"/>
                </a:solidFill>
                <a:latin typeface="Arial" charset="0"/>
                <a:ea typeface="MS PGothic" pitchFamily="34" charset="-128"/>
              </a:rPr>
              <a:t>VALUE AND BENEFITS</a:t>
            </a:r>
          </a:p>
        </p:txBody>
      </p:sp>
      <p:sp>
        <p:nvSpPr>
          <p:cNvPr id="15" name="Rechteck 11">
            <a:extLst>
              <a:ext uri="{FF2B5EF4-FFF2-40B4-BE49-F238E27FC236}">
                <a16:creationId xmlns:a16="http://schemas.microsoft.com/office/drawing/2014/main" id="{EFE2F402-8463-496E-9E63-3D3298D97D2F}"/>
              </a:ext>
            </a:extLst>
          </p:cNvPr>
          <p:cNvSpPr/>
          <p:nvPr/>
        </p:nvSpPr>
        <p:spPr>
          <a:xfrm>
            <a:off x="5512388" y="2046709"/>
            <a:ext cx="4029829" cy="494736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841" tIns="70561" rIns="105841" bIns="70561" anchor="ctr"/>
          <a:lstStyle/>
          <a:p>
            <a:pPr marL="210026" indent="-210026" defTabSz="1008126" eaLnBrk="1" fontAlgn="auto" hangingPunct="1">
              <a:spcBef>
                <a:spcPts val="331"/>
              </a:spcBef>
              <a:spcAft>
                <a:spcPts val="0"/>
              </a:spcAft>
              <a:buClr>
                <a:srgbClr val="E64B00"/>
              </a:buClr>
              <a:defRPr/>
            </a:pPr>
            <a:r>
              <a:rPr lang="de-CH" altLang="fr-FR" sz="1544" dirty="0">
                <a:solidFill>
                  <a:srgbClr val="FFFFFF"/>
                </a:solidFill>
                <a:latin typeface="Arial"/>
                <a:ea typeface="Arial" charset="0"/>
                <a:cs typeface="Arial" charset="0"/>
              </a:rPr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27989074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</TotalTime>
  <Pages>1</Pages>
  <Words>91</Words>
  <Application>Microsoft Office PowerPoint</Application>
  <PresentationFormat>Custom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MS PGothic</vt:lpstr>
      <vt:lpstr>宋体</vt:lpstr>
      <vt:lpstr>Arial</vt:lpstr>
      <vt:lpstr>Book Antiqua</vt:lpstr>
      <vt:lpstr>Wingdings</vt:lpstr>
      <vt:lpstr>NewSidel_Template_4x3_with add layouts</vt:lpstr>
      <vt:lpstr>think-cell Folie</vt:lpstr>
      <vt:lpstr>Less downtime and improved productivity</vt:lpstr>
    </vt:vector>
  </TitlesOfParts>
  <Manager>Dominique Martin</Manager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ttle Switch System</dc:title>
  <dc:subject>Selling points</dc:subject>
  <dc:creator>Mathieu Druon</dc:creator>
  <cp:keywords/>
  <dc:description/>
  <cp:lastModifiedBy>Sorega, Dan</cp:lastModifiedBy>
  <cp:revision>535</cp:revision>
  <cp:lastPrinted>2016-08-02T08:13:06Z</cp:lastPrinted>
  <dcterms:created xsi:type="dcterms:W3CDTF">2009-07-10T13:59:45Z</dcterms:created>
  <dcterms:modified xsi:type="dcterms:W3CDTF">2020-06-26T12:40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20-06-26T12:40:40.0296156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MSIP_Label_e35bb0a3-90cf-41a8-939e-500b35438edf_Enabled">
    <vt:lpwstr>True</vt:lpwstr>
  </property>
  <property fmtid="{D5CDD505-2E9C-101B-9397-08002B2CF9AE}" pid="10" name="MSIP_Label_e35bb0a3-90cf-41a8-939e-500b35438edf_SiteId">
    <vt:lpwstr>2390cbd1-e663-4321-bc93-ba298637ce52</vt:lpwstr>
  </property>
  <property fmtid="{D5CDD505-2E9C-101B-9397-08002B2CF9AE}" pid="11" name="MSIP_Label_e35bb0a3-90cf-41a8-939e-500b35438edf_Owner">
    <vt:lpwstr>107200@sidel.com</vt:lpwstr>
  </property>
  <property fmtid="{D5CDD505-2E9C-101B-9397-08002B2CF9AE}" pid="12" name="MSIP_Label_e35bb0a3-90cf-41a8-939e-500b35438edf_SetDate">
    <vt:lpwstr>2018-03-29T14:30:48.1317191+02:00</vt:lpwstr>
  </property>
  <property fmtid="{D5CDD505-2E9C-101B-9397-08002B2CF9AE}" pid="13" name="MSIP_Label_e35bb0a3-90cf-41a8-939e-500b35438edf_Name">
    <vt:lpwstr>Sidel-Confidential</vt:lpwstr>
  </property>
  <property fmtid="{D5CDD505-2E9C-101B-9397-08002B2CF9AE}" pid="14" name="MSIP_Label_e35bb0a3-90cf-41a8-939e-500b35438edf_Application">
    <vt:lpwstr>Microsoft Azure Information Protection</vt:lpwstr>
  </property>
  <property fmtid="{D5CDD505-2E9C-101B-9397-08002B2CF9AE}" pid="15" name="MSIP_Label_e35bb0a3-90cf-41a8-939e-500b35438edf_Extended_MSFT_Method">
    <vt:lpwstr>Automatic</vt:lpwstr>
  </property>
  <property fmtid="{D5CDD505-2E9C-101B-9397-08002B2CF9AE}" pid="16" name="MSIP_Label_06263584-a2fa-494a-b6ac-a3eeadb86bd0_Enabled">
    <vt:lpwstr>True</vt:lpwstr>
  </property>
  <property fmtid="{D5CDD505-2E9C-101B-9397-08002B2CF9AE}" pid="17" name="MSIP_Label_06263584-a2fa-494a-b6ac-a3eeadb86bd0_SiteId">
    <vt:lpwstr>2390cbd1-e663-4321-bc93-ba298637ce52</vt:lpwstr>
  </property>
  <property fmtid="{D5CDD505-2E9C-101B-9397-08002B2CF9AE}" pid="18" name="MSIP_Label_06263584-a2fa-494a-b6ac-a3eeadb86bd0_Owner">
    <vt:lpwstr>107200@sidel.com</vt:lpwstr>
  </property>
  <property fmtid="{D5CDD505-2E9C-101B-9397-08002B2CF9AE}" pid="19" name="MSIP_Label_06263584-a2fa-494a-b6ac-a3eeadb86bd0_SetDate">
    <vt:lpwstr>2018-03-29T14:30:48.1317191+02:00</vt:lpwstr>
  </property>
  <property fmtid="{D5CDD505-2E9C-101B-9397-08002B2CF9AE}" pid="20" name="MSIP_Label_06263584-a2fa-494a-b6ac-a3eeadb86bd0_Name">
    <vt:lpwstr>Internal</vt:lpwstr>
  </property>
  <property fmtid="{D5CDD505-2E9C-101B-9397-08002B2CF9AE}" pid="21" name="MSIP_Label_06263584-a2fa-494a-b6ac-a3eeadb86bd0_Application">
    <vt:lpwstr>Microsoft Azure Information Protection</vt:lpwstr>
  </property>
  <property fmtid="{D5CDD505-2E9C-101B-9397-08002B2CF9AE}" pid="22" name="MSIP_Label_06263584-a2fa-494a-b6ac-a3eeadb86bd0_Extended_MSFT_Method">
    <vt:lpwstr>Automatic</vt:lpwstr>
  </property>
  <property fmtid="{D5CDD505-2E9C-101B-9397-08002B2CF9AE}" pid="23" name="Sensitivity">
    <vt:lpwstr>General Sidel-Confidential Internal</vt:lpwstr>
  </property>
</Properties>
</file>